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8"/>
  </p:notesMasterIdLst>
  <p:handoutMasterIdLst>
    <p:handoutMasterId r:id="rId49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11482" r:id="rId24"/>
    <p:sldId id="11481" r:id="rId25"/>
    <p:sldId id="727" r:id="rId26"/>
    <p:sldId id="749" r:id="rId27"/>
    <p:sldId id="867" r:id="rId28"/>
    <p:sldId id="921" r:id="rId29"/>
    <p:sldId id="922" r:id="rId30"/>
    <p:sldId id="806" r:id="rId31"/>
    <p:sldId id="866" r:id="rId32"/>
    <p:sldId id="777" r:id="rId33"/>
    <p:sldId id="756" r:id="rId34"/>
    <p:sldId id="832" r:id="rId35"/>
    <p:sldId id="875" r:id="rId36"/>
    <p:sldId id="827" r:id="rId37"/>
    <p:sldId id="826" r:id="rId38"/>
    <p:sldId id="825" r:id="rId39"/>
    <p:sldId id="873" r:id="rId40"/>
    <p:sldId id="824" r:id="rId41"/>
    <p:sldId id="886" r:id="rId42"/>
    <p:sldId id="761" r:id="rId43"/>
    <p:sldId id="836" r:id="rId44"/>
    <p:sldId id="923" r:id="rId45"/>
    <p:sldId id="924" r:id="rId46"/>
    <p:sldId id="907" r:id="rId4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  <p14:sldId id="11482"/>
            <p14:sldId id="11481"/>
          </p14:sldIdLst>
        </p14:section>
        <p14:section name="TOC &amp; FDOC Checklist" id="{174EF085-1A58-A34B-A0C0-1C6DA998167E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Non-IA, with LMS" id="{53C6C3A9-B3E0-4122-97C9-6E1E6D7D61D3}">
          <p14:sldIdLst>
            <p14:sldId id="832"/>
            <p14:sldId id="875"/>
            <p14:sldId id="827"/>
            <p14:sldId id="826"/>
            <p14:sldId id="825"/>
            <p14:sldId id="873"/>
            <p14:sldId id="824"/>
            <p14:sldId id="886"/>
            <p14:sldId id="761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1"/>
    <p:restoredTop sz="94658"/>
  </p:normalViewPr>
  <p:slideViewPr>
    <p:cSldViewPr snapToGrid="0">
      <p:cViewPr varScale="1">
        <p:scale>
          <a:sx n="104" d="100"/>
          <a:sy n="104" d="100"/>
        </p:scale>
        <p:origin x="232" y="5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51" Type="http://schemas.openxmlformats.org/officeDocument/2006/relationships/viewProps" Target="viewProp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54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0649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0C071D-1E94-E403-D848-9F2F4830B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FA0B0E-C5DB-D5A9-6F4E-0966FA3293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26B9B-F990-2BF1-1FD4-100E30DD7D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CC7ED-F7D1-F236-84C3-F7D796DF0D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94969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5FFA71-CF27-21BA-017E-57D9AF6711B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A18CD0D-4DFE-B661-C3B0-47B78A154B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918B52F-B6FA-9A4F-878D-F8AA2AD2D3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6EF8B53-4CEB-B7B6-9FDE-A7EB062937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09118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6674D-0A53-AB07-744A-1C24EF8A6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A5F80-4387-9599-B128-B0F03661DB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96F3D9-DEB4-9C13-CC81-2E40F3BC8D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737BF-5157-624B-5B14-A5212FC02B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48488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B3DE7-1DC7-1E31-5ADB-F80FFEB5D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5DAA08-EC31-02F6-8229-9B38AC17CA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377F32-AAC4-D4B9-1591-66A6BA3EB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9631A-9AFB-78F2-508C-8E40C52BFE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062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151D1-45D5-5A35-96D1-56B4A38AF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6732C9-D94D-44DC-BC98-6CA3340AE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6DC4CE-42A6-CA52-0B6B-85E03F224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7B608-E21E-B4A8-1C5C-7611F7AB4F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009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E468F-43DF-2D49-D1EB-723751A6E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6448FC-7289-EC2B-4428-7986329D6D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F0913A-2931-5147-7997-0050C8DE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3B675-7202-8F23-8FB9-5AD84F9CD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4020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9961B-31B7-CA90-926C-5ECDE7F16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5DB49C-6396-85C0-251C-7B849B4D07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573326-405A-C78B-BDB7-5FBB738321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2A4A9C-6F17-D574-D265-5D2147CF6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7426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FBB53-D2B7-E0B5-D7A8-05E0CB630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4F77-02AE-669B-6080-B86093E4B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C02F2C-AD4D-7257-779F-C0D801BB2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839A9C-5457-CC4F-DE30-BA1815650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7705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0853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640EBF-85EB-BF90-DC6A-BCB5C6764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D7B997-E005-6122-1C7D-840F420D50D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BFEAB9-ECC9-8191-E6F5-524F7F11C9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4BDA40-8E28-4144-0F1A-F1250307F4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04792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2C201C-5C03-7536-C34F-A4ED565A25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1198D2E-6002-ACE0-6949-14C9D406C7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1C7092A-16CC-92F0-6BD6-1739864EDF2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7D0993-49F8-64ED-5AB3-B7A8BA808DF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69450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792063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6095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5385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5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emf"/><Relationship Id="rId4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8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61.png"/><Relationship Id="rId5" Type="http://schemas.openxmlformats.org/officeDocument/2006/relationships/image" Target="../media/image30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8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3.png"/><Relationship Id="rId4" Type="http://schemas.openxmlformats.org/officeDocument/2006/relationships/hyperlink" Target="https://www.mheducation.com/highered/support/support-at-every-step/student/connect/temporary-access-ending" TargetMode="Externa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connect/first-day-of-class.html" TargetMode="Externa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74.png"/><Relationship Id="rId4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3.png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3.png"/><Relationship Id="rId5" Type="http://schemas.openxmlformats.org/officeDocument/2006/relationships/image" Target="../media/image78.png"/><Relationship Id="rId4" Type="http://schemas.openxmlformats.org/officeDocument/2006/relationships/image" Target="../media/image75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Moodle with Inclusive Access </a:t>
            </a:r>
          </a:p>
          <a:p>
            <a:r>
              <a:rPr lang="en-US" dirty="0"/>
              <a:t>LTIA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95970B-6317-BA2D-0C7D-9B2CA4321ED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5AA889-5809-2E29-4702-93274F21B2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7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9977DD-D626-74F1-FA03-74EE67AB54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1BDFFE6-0C95-1A93-A903-A3DCC2F32BC9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BB657C13-CA93-2C45-45F9-0D776A0A7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2555348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200">
                <a:latin typeface="Arial"/>
                <a:cs typeface="Arial"/>
              </a:rPr>
              <a:t>Slides Available for the First Day of Class: Sharpen Companion, non-IA, Moodle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 dirty="0">
                <a:latin typeface="Arial"/>
                <a:cs typeface="Arial"/>
              </a:rPr>
              <a:t>McGraw Hill Connect and Sharpen</a:t>
            </a:r>
            <a:r>
              <a:rPr lang="en-US" sz="1400" dirty="0">
                <a:latin typeface="Arial"/>
                <a:cs typeface="Arial"/>
              </a:rPr>
              <a:t>:</a:t>
            </a:r>
            <a:endParaRPr lang="en-US" sz="1400" strike="sngStrike" dirty="0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and Sharpen Companion FDOC Slides 11 – 1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Purchase Flows</a:t>
            </a:r>
            <a:endParaRPr lang="en-US" sz="1400" dirty="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: Connect with an LMS: Moodle Slides 20 – 28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 dirty="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 dirty="0">
                <a:latin typeface="Arial"/>
                <a:cs typeface="Arial"/>
              </a:rPr>
              <a:t>Non-IA and IA: Connect with an LMS Slides 29 – 32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endParaRPr lang="en-US" sz="1400" dirty="0"/>
          </a:p>
          <a:p>
            <a:pPr>
              <a:buFont typeface="Wingdings" panose="020B0604020202020204" pitchFamily="34" charset="0"/>
              <a:buChar char="q"/>
            </a:pPr>
            <a:endParaRPr lang="en-US" sz="14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&#10;&#10;AI-generated content may be incorrect.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FBBB1-F691-2DBB-0E41-0C1A4A140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7921D-3035-DC63-AD61-AFA509E96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44DFD4B-7A03-B942-C39C-B04433F1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B34A92C-1959-BED0-600B-4E790B250D9E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403C93B-0C5C-6EBA-38B9-CDC91690D486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0798DD6-469C-DC2A-93A7-786B9D829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6E0BA-3400-31A1-885E-50BE516D9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Registration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6" name="Picture 15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E945652F-4939-F4BB-055D-B0DBF178C6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394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69D5554-7FC2-80B6-2D28-78E18C1BD47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337C7A2-D579-1FFF-120F-9D524A00A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Mood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B4F36-605D-E159-F5FA-8BB8AE3FE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4046D0-D78C-F99F-C249-D1E2735F40F8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DC54E7-74D9-5B70-E0E4-1278D51F0FDE}"/>
              </a:ext>
            </a:extLst>
          </p:cNvPr>
          <p:cNvSpPr txBox="1"/>
          <p:nvPr/>
        </p:nvSpPr>
        <p:spPr>
          <a:xfrm>
            <a:off x="4500561" y="2089315"/>
            <a:ext cx="763515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Moodle course, select a McGraw Hill Connect assignment from a topic area. On the next screen, click to launch it.</a:t>
            </a:r>
          </a:p>
        </p:txBody>
      </p:sp>
      <p:pic>
        <p:nvPicPr>
          <p:cNvPr id="6" name="Picture 7" descr="Moodle course screenshot showing the student's Connect assignment. Yellow rectangle highlights the assignment.">
            <a:extLst>
              <a:ext uri="{FF2B5EF4-FFF2-40B4-BE49-F238E27FC236}">
                <a16:creationId xmlns:a16="http://schemas.microsoft.com/office/drawing/2014/main" id="{77FF6D61-136C-CF2B-C345-1CEA7EB8EE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87091" y="2777242"/>
            <a:ext cx="5618018" cy="254919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6FAA6B-B036-7569-A879-E04B87BD0E8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66043" y="3932792"/>
            <a:ext cx="1159659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2" name="Picture 11" descr="Connect assignment screenshot with the launch button.">
            <a:extLst>
              <a:ext uri="{FF2B5EF4-FFF2-40B4-BE49-F238E27FC236}">
                <a16:creationId xmlns:a16="http://schemas.microsoft.com/office/drawing/2014/main" id="{76E4B612-FFCE-A66B-F726-A2DA4342A1B6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7742738" y="4416286"/>
            <a:ext cx="4139115" cy="180364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1601797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FE5C0-3740-48B6-257B-EB91AF94E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DE1E0-F081-98B5-7C7F-C81D1BC59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A62FD0-67B8-7050-235A-393454281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1A9899A-89AC-6F0C-D7AD-CCFD340141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5B7E9B0-2B78-B524-F60A-C1F963508C1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5000283" cy="43834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have three registration options (right to left):</a:t>
            </a:r>
            <a:endParaRPr lang="en-US" sz="1800"/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Connect only and not Sharpen. </a:t>
            </a:r>
          </a:p>
        </p:txBody>
      </p:sp>
      <p:grpSp>
        <p:nvGrpSpPr>
          <p:cNvPr id="14" name="Group 13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4733343C-1A2B-1EE0-0C54-B0B3B567F1E7}"/>
              </a:ext>
            </a:extLst>
          </p:cNvPr>
          <p:cNvGrpSpPr/>
          <p:nvPr/>
        </p:nvGrpSpPr>
        <p:grpSpPr>
          <a:xfrm>
            <a:off x="185773" y="1105308"/>
            <a:ext cx="5730908" cy="4381500"/>
            <a:chOff x="266591" y="1243853"/>
            <a:chExt cx="5730908" cy="4381500"/>
          </a:xfrm>
        </p:grpSpPr>
        <p:pic>
          <p:nvPicPr>
            <p:cNvPr id="8" name="Picture 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F836DEDE-A82D-6FB3-1B13-A07FB39BE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591" y="1243853"/>
              <a:ext cx="5730908" cy="4381500"/>
            </a:xfrm>
            <a:prstGeom prst="rect">
              <a:avLst/>
            </a:prstGeom>
          </p:spPr>
        </p:pic>
        <p:pic>
          <p:nvPicPr>
            <p:cNvPr id="12" name="Picture 11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B13C0025-96B0-5F0B-10C7-516919AE2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7" t="60199" r="67998" b="3881"/>
            <a:stretch/>
          </p:blipFill>
          <p:spPr>
            <a:xfrm>
              <a:off x="318433" y="3710365"/>
              <a:ext cx="1762651" cy="16923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4318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92B74-D9D2-8691-D9A8-85FA4B832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723199-BC19-B1AB-FAA7-04EA38872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2D71B6-4955-6CA6-A359-5C445E79F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745926-269B-F52C-7AD9-15C2EBDAD11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80C877-A065-BC51-F984-7B68EC3A32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Place Order". A purchase confirmation page will load.</a:t>
            </a:r>
          </a:p>
          <a:p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Connect and Sharpen Companion purchase.</a:t>
            </a: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5" name="Picture 14" descr="Secure checkout page screenshot. ">
            <a:extLst>
              <a:ext uri="{FF2B5EF4-FFF2-40B4-BE49-F238E27FC236}">
                <a16:creationId xmlns:a16="http://schemas.microsoft.com/office/drawing/2014/main" id="{B49D66EA-9C68-AE1F-4A04-30BF7606EE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0351" y="794052"/>
            <a:ext cx="3788833" cy="2769812"/>
          </a:xfrm>
          <a:prstGeom prst="rect">
            <a:avLst/>
          </a:prstGeom>
        </p:spPr>
      </p:pic>
      <p:pic>
        <p:nvPicPr>
          <p:cNvPr id="17" name="Picture 16" descr="Post-purchase confirmation page screenshot.">
            <a:extLst>
              <a:ext uri="{FF2B5EF4-FFF2-40B4-BE49-F238E27FC236}">
                <a16:creationId xmlns:a16="http://schemas.microsoft.com/office/drawing/2014/main" id="{07529E64-B203-0083-8EBA-37183B818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6196" y="3722551"/>
            <a:ext cx="4625219" cy="29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62825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B2D3-A62E-6B72-7291-BBF3CD3D0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640AA-B501-CD99-08EE-3A4C9ABD8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CE92F4B-3F44-16DB-4DC7-A4C98286CC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ABE90C-6663-4708-7248-2219132F6E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3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4184A6-B55F-FEAE-838B-22FC8848CEB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 descr="Access code confirmation page screenshot.">
            <a:extLst>
              <a:ext uri="{FF2B5EF4-FFF2-40B4-BE49-F238E27FC236}">
                <a16:creationId xmlns:a16="http://schemas.microsoft.com/office/drawing/2014/main" id="{3405731D-3A75-21A0-9B62-B47F27485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102" y="1106826"/>
            <a:ext cx="4908534" cy="2291791"/>
          </a:xfrm>
          <a:prstGeom prst="rect">
            <a:avLst/>
          </a:prstGeom>
        </p:spPr>
      </p:pic>
      <p:pic>
        <p:nvPicPr>
          <p:cNvPr id="15" name="Picture 14" descr="Temporary access confirmation page screenshot.">
            <a:extLst>
              <a:ext uri="{FF2B5EF4-FFF2-40B4-BE49-F238E27FC236}">
                <a16:creationId xmlns:a16="http://schemas.microsoft.com/office/drawing/2014/main" id="{9EBDBBCC-E9FD-5D6D-4381-9D17726BA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888" y="4207177"/>
            <a:ext cx="5223178" cy="233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5871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7CF02-F0D3-8DE7-A2F3-F0A610290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945B2-0330-2F5D-351E-42B67E5E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F849A1D-5F42-6354-E7B3-C81E2F087C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CF6A27F-3C12-AA7E-D95D-47066D8E9B6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E5BC5F-1E09-88F5-A303-7993B3B1DC7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Complete Registration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E34CF3BB-2E6A-CD43-7F7F-992EA4E3A1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383" y="960439"/>
            <a:ext cx="5631874" cy="3459309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0A08F7B-6D27-CE80-1A66-40521B52A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0672" y="3770183"/>
            <a:ext cx="1237282" cy="5282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2592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C6A1-0903-4970-80B5-A58F39F04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CC8DF5-513C-EFF0-87C3-9A030980F0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CA52A8-A48D-B772-0A50-036971263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5FB91CC-D65A-73CE-428F-676227C7C5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92FF04-D53E-037B-450F-005930AADF6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 b="1" i="1">
                <a:solidFill>
                  <a:srgbClr val="333333"/>
                </a:solidFill>
                <a:latin typeface="Arial"/>
                <a:cs typeface="Arial"/>
              </a:rPr>
              <a:t>. </a:t>
            </a:r>
            <a:endParaRPr lang="en-US" sz="1800">
              <a:latin typeface="Arial"/>
              <a:cs typeface="Arial"/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cs typeface="Arial"/>
              </a:rPr>
              <a:t>Click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 b="1" i="1">
                <a:latin typeface="Arial"/>
                <a:cs typeface="Arial"/>
              </a:rPr>
              <a:t>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Reminder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: if you used Temporary Access, this applies only to Connect and not Sharpen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059FE09C-9DE5-1585-FCDD-17A4742F1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83" y="1159382"/>
            <a:ext cx="5222892" cy="248856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7FFEAF5-77B2-5E95-7F49-3A829C3F0E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1630" y="1724553"/>
            <a:ext cx="2001950" cy="9727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18DCA569-E74B-E40C-300F-7B04AADE4E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975" y="4074282"/>
            <a:ext cx="5129289" cy="2446868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5BECCD-AFC0-3C33-D86B-34BA0EE1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02366" y="4607925"/>
            <a:ext cx="1905188" cy="8881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2841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3935D-536C-DBB1-0374-6010491D2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27B7B0-B3DF-D45E-1F32-D2F5AF704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860B82F-3DF6-35B8-CE8D-9A124B336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114993E-0F8E-6E13-DF20-B6B837A5CEF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82BDFC-AFF3-33C4-2DE1-B3C19FE371E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Connect and Sharpen Companion access code or purchase Connect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 can view more information and instructions here</a:t>
            </a:r>
            <a:r>
              <a:rPr lang="en-US" sz="1800">
                <a:solidFill>
                  <a:srgbClr val="000000"/>
                </a:solidFill>
              </a:rPr>
              <a:t>.</a:t>
            </a:r>
            <a:endParaRPr lang="en-US"/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2" name="Picture 11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64124D77-4556-1A1B-AD75-EF7071311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098" y="2034475"/>
            <a:ext cx="4424246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3090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egister for Connect in Your School’s L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3400" y="1379558"/>
            <a:ext cx="7081838" cy="503807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For instructions specific to your school’s LMS, visit: </a:t>
            </a:r>
            <a:br>
              <a:rPr lang="en-US"/>
            </a:br>
            <a:r>
              <a:rPr lang="en-US">
                <a:latin typeface="Arial"/>
                <a:cs typeface="Arial"/>
                <a:hlinkClick r:id="rId3"/>
              </a:rPr>
              <a:t>https://www.mheducation.com/highered/support/connect/first-day-of-class.html</a:t>
            </a:r>
            <a:r>
              <a:rPr lang="en-US">
                <a:latin typeface="Arial"/>
                <a:cs typeface="Arial"/>
              </a:rPr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hen create a new account or sign in with an existing account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You will be prompted to create a new Connect account or sign in with an existing Connect account. Depending on your school's setup, some fields may need to be input to complete the registration. Click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or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ign In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to complete the pairing process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7637BD4-5C8B-448B-98F7-B5F26B440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7" descr="QR code to scan and access instructions specific to your school's LMS.">
            <a:extLst>
              <a:ext uri="{FF2B5EF4-FFF2-40B4-BE49-F238E27FC236}">
                <a16:creationId xmlns:a16="http://schemas.microsoft.com/office/drawing/2014/main" id="{3C6EFCC5-CA1F-6A93-25A7-35C1892878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8305" y="2159939"/>
            <a:ext cx="2211010" cy="216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9280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01240278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8719519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</a:t>
            </a:r>
            <a:r>
              <a:rPr lang="en-US" dirty="0"/>
              <a:t>Moodle</a:t>
            </a:r>
            <a:r>
              <a:rPr lang="en-US" dirty="0">
                <a:latin typeface="Arial"/>
                <a:cs typeface="Arial"/>
              </a:rPr>
              <a:t>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Blackboard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B34D44-C230-D82F-3693-1E5E11283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72" y="3028068"/>
            <a:ext cx="9811854" cy="2049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kern="100" dirty="0">
                <a:solidFill>
                  <a:srgbClr val="000000"/>
                </a:solidFill>
                <a:ea typeface="Aptos" panose="020B0004020202020204" pitchFamily="34" charset="0"/>
              </a:rPr>
              <a:t>Connect will create an auto-paired account using information from the LMS launch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CC5B0A-0678-0993-D1DD-FB6C0370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58F06C4-EBD3-0C9C-57D9-79D5DE28D6D3}"/>
              </a:ext>
            </a:extLst>
          </p:cNvPr>
          <p:cNvSpPr txBox="1">
            <a:spLocks/>
          </p:cNvSpPr>
          <p:nvPr/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7000"/>
              </a:lnSpc>
              <a:spcAft>
                <a:spcPts val="800"/>
              </a:spcAft>
              <a:defRPr/>
            </a:pPr>
            <a:r>
              <a:rPr lang="en-US" sz="2000">
                <a:solidFill>
                  <a:prstClr val="black"/>
                </a:solidFill>
                <a:cs typeface="Times New Roman" panose="02020603050405020304" pitchFamily="18" charset="0"/>
              </a:rPr>
              <a:t>You have three registration options.</a:t>
            </a:r>
            <a:endParaRPr lang="en-US" sz="200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692146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Connect Code</a:t>
            </a:r>
            <a:r>
              <a:rPr lang="en-US" b="1">
                <a:solidFill>
                  <a:srgbClr val="7030A0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Enter a Connect access code and 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Redeem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C7700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 Online:</a:t>
            </a:r>
            <a:r>
              <a:rPr lang="en-US" b="1">
                <a:solidFill>
                  <a:srgbClr val="ED7D31"/>
                </a:solidFill>
                <a:latin typeface="Arial"/>
                <a:ea typeface="Calibri" panose="020F0502020204030204" pitchFamily="34" charset="0"/>
                <a:cs typeface="Times New Roman"/>
              </a:rPr>
              <a:t> 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Click </a:t>
            </a:r>
            <a:r>
              <a:rPr lang="en-US" b="1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Purchase </a:t>
            </a:r>
            <a:r>
              <a:rPr lang="en-US">
                <a:solidFill>
                  <a:prstClr val="black"/>
                </a:solidFill>
                <a:latin typeface="Arial"/>
                <a:ea typeface="Calibri" panose="020F0502020204030204" pitchFamily="34" charset="0"/>
                <a:cs typeface="Times New Roman"/>
              </a:rPr>
              <a:t>to use a credit card, Venmo or PayPal.</a:t>
            </a:r>
          </a:p>
          <a:p>
            <a:pPr marL="342900" indent="-342900" defTabSz="457200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  <a:defRPr/>
            </a:pPr>
            <a:r>
              <a:rPr lang="en-US" b="1">
                <a:solidFill>
                  <a:srgbClr val="E21A23"/>
                </a:solidFill>
                <a:ea typeface="Calibri" panose="020F0502020204030204" pitchFamily="34" charset="0"/>
              </a:rPr>
              <a:t>Temporary Access: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Click</a:t>
            </a:r>
            <a:r>
              <a:rPr lang="en-US" b="1">
                <a:solidFill>
                  <a:prstClr val="black"/>
                </a:solidFill>
                <a:ea typeface="Calibri" panose="020F0502020204030204" pitchFamily="34" charset="0"/>
              </a:rPr>
              <a:t> Access Now </a:t>
            </a:r>
            <a:r>
              <a:rPr lang="en-US">
                <a:solidFill>
                  <a:prstClr val="black"/>
                </a:solidFill>
                <a:ea typeface="Calibri" panose="020F0502020204030204" pitchFamily="34" charset="0"/>
              </a:rPr>
              <a:t>for two-week temporary access</a:t>
            </a:r>
            <a:r>
              <a:rPr lang="en-US" sz="1400">
                <a:solidFill>
                  <a:prstClr val="black"/>
                </a:solidFill>
                <a:ea typeface="Calibri" panose="020F0502020204030204" pitchFamily="34" charset="0"/>
              </a:rPr>
              <a:t>.</a:t>
            </a:r>
            <a:endParaRPr lang="en-US"/>
          </a:p>
          <a:p>
            <a:endParaRPr lang="en-US" dirty="0"/>
          </a:p>
        </p:txBody>
      </p:sp>
      <p:pic>
        <p:nvPicPr>
          <p:cNvPr id="6" name="Picture 5" descr="Screenshot of the Connect Course Access page showing the 3 different options to access the course. ">
            <a:extLst>
              <a:ext uri="{FF2B5EF4-FFF2-40B4-BE49-F238E27FC236}">
                <a16:creationId xmlns:a16="http://schemas.microsoft.com/office/drawing/2014/main" id="{9C530515-18C3-F71A-CB2D-019C775C7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59739" y="1021773"/>
            <a:ext cx="6266887" cy="4797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2226F9-3EA5-383E-347F-8DD61A02A4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067D84-32EF-7D86-99A6-8E95665BA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6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36AE55A-2ABF-CCC3-7DA3-A4F784F388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Moodle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creenshot of the Secure checkout page.">
            <a:extLst>
              <a:ext uri="{FF2B5EF4-FFF2-40B4-BE49-F238E27FC236}">
                <a16:creationId xmlns:a16="http://schemas.microsoft.com/office/drawing/2014/main" id="{D975230B-FE27-7394-F1F4-587F350A98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540" y="1491961"/>
            <a:ext cx="5296589" cy="3657600"/>
          </a:xfrm>
          <a:prstGeom prst="rect">
            <a:avLst/>
          </a:prstGeom>
        </p:spPr>
      </p:pic>
      <p:pic>
        <p:nvPicPr>
          <p:cNvPr id="7" name="Picture 6" descr="Screenshot of the bottom half of the secure checkout page where the billing address is completed. Click Review Order once filled out. ">
            <a:extLst>
              <a:ext uri="{FF2B5EF4-FFF2-40B4-BE49-F238E27FC236}">
                <a16:creationId xmlns:a16="http://schemas.microsoft.com/office/drawing/2014/main" id="{27D88E28-A336-F2A9-5B09-B7EF0AE07C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000" y="3320761"/>
            <a:ext cx="4509316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182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F7A34F6-0AE4-4F31-B8EA-9CBDAE81C10C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4f83251b-4d3b-4580-8981-be5e2b08b791"/>
    <ds:schemaRef ds:uri="55eee036-b312-4691-be2e-efe9fdaf1737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1</TotalTime>
  <Words>1836</Words>
  <Application>Microsoft Macintosh PowerPoint</Application>
  <PresentationFormat>Widescreen</PresentationFormat>
  <Paragraphs>241</Paragraphs>
  <Slides>32</Slides>
  <Notes>28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55" baseType="lpstr">
      <vt:lpstr>Aptos</vt:lpstr>
      <vt:lpstr>Arial</vt:lpstr>
      <vt:lpstr>Arial Black</vt:lpstr>
      <vt:lpstr>Arial,Sans-Serif</vt:lpstr>
      <vt:lpstr>Calibri</vt:lpstr>
      <vt:lpstr>Magazine Grotesque</vt:lpstr>
      <vt:lpstr>Magazine Grotesque Bold</vt:lpstr>
      <vt:lpstr>Times New Roman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tep 6</vt:lpstr>
      <vt:lpstr>Step 7</vt:lpstr>
      <vt:lpstr>Slides Available for the First Day of Class: Sharpen Companion, non-IA, Moodle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Non-IA Registration: Connect Integrated with a Learning Management System (LMS)</vt:lpstr>
      <vt:lpstr>Accessing McGraw Hill Connect:  Moodle</vt:lpstr>
      <vt:lpstr>Step 2:</vt:lpstr>
      <vt:lpstr>Step 3A:</vt:lpstr>
      <vt:lpstr>Step 3B-3C:</vt:lpstr>
      <vt:lpstr>Step 4A: </vt:lpstr>
      <vt:lpstr>Step 4B-4C: </vt:lpstr>
      <vt:lpstr>Step 5C: </vt:lpstr>
      <vt:lpstr>Register for Connect in Your School’s LMS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4</cp:revision>
  <dcterms:created xsi:type="dcterms:W3CDTF">2023-07-10T01:20:11Z</dcterms:created>
  <dcterms:modified xsi:type="dcterms:W3CDTF">2025-05-28T21:3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lpwstr>22203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